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6"/>
  </p:notesMasterIdLst>
  <p:handoutMasterIdLst>
    <p:handoutMasterId r:id="rId47"/>
  </p:handoutMasterIdLst>
  <p:sldIdLst>
    <p:sldId id="372" r:id="rId2"/>
    <p:sldId id="369" r:id="rId3"/>
    <p:sldId id="380" r:id="rId4"/>
    <p:sldId id="435" r:id="rId5"/>
    <p:sldId id="381" r:id="rId6"/>
    <p:sldId id="383" r:id="rId7"/>
    <p:sldId id="436" r:id="rId8"/>
    <p:sldId id="437" r:id="rId9"/>
    <p:sldId id="438" r:id="rId10"/>
    <p:sldId id="439" r:id="rId11"/>
    <p:sldId id="440" r:id="rId12"/>
    <p:sldId id="441" r:id="rId13"/>
    <p:sldId id="442" r:id="rId14"/>
    <p:sldId id="443" r:id="rId15"/>
    <p:sldId id="444" r:id="rId16"/>
    <p:sldId id="445" r:id="rId17"/>
    <p:sldId id="446" r:id="rId18"/>
    <p:sldId id="447" r:id="rId19"/>
    <p:sldId id="448" r:id="rId20"/>
    <p:sldId id="449" r:id="rId21"/>
    <p:sldId id="450" r:id="rId22"/>
    <p:sldId id="451" r:id="rId23"/>
    <p:sldId id="452" r:id="rId24"/>
    <p:sldId id="453" r:id="rId25"/>
    <p:sldId id="454" r:id="rId26"/>
    <p:sldId id="455" r:id="rId27"/>
    <p:sldId id="456" r:id="rId28"/>
    <p:sldId id="457" r:id="rId29"/>
    <p:sldId id="458" r:id="rId30"/>
    <p:sldId id="411" r:id="rId31"/>
    <p:sldId id="459" r:id="rId32"/>
    <p:sldId id="460" r:id="rId33"/>
    <p:sldId id="461" r:id="rId34"/>
    <p:sldId id="462" r:id="rId35"/>
    <p:sldId id="464" r:id="rId36"/>
    <p:sldId id="463" r:id="rId37"/>
    <p:sldId id="465" r:id="rId38"/>
    <p:sldId id="466" r:id="rId39"/>
    <p:sldId id="467" r:id="rId40"/>
    <p:sldId id="468" r:id="rId41"/>
    <p:sldId id="378" r:id="rId42"/>
    <p:sldId id="469" r:id="rId43"/>
    <p:sldId id="379" r:id="rId44"/>
    <p:sldId id="434" r:id="rId45"/>
  </p:sldIdLst>
  <p:sldSz cx="12192000" cy="6858000"/>
  <p:notesSz cx="6737350" cy="9875838"/>
  <p:custDataLst>
    <p:tags r:id="rId4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orient="horz" pos="618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5" pos="211" userDrawn="1">
          <p15:clr>
            <a:srgbClr val="A4A3A4"/>
          </p15:clr>
        </p15:guide>
        <p15:guide id="7" orient="horz" pos="2614" userDrawn="1">
          <p15:clr>
            <a:srgbClr val="A4A3A4"/>
          </p15:clr>
        </p15:guide>
        <p15:guide id="8" orient="horz" pos="391" userDrawn="1">
          <p15:clr>
            <a:srgbClr val="A4A3A4"/>
          </p15:clr>
        </p15:guide>
        <p15:guide id="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4694"/>
    <a:srgbClr val="F98420"/>
    <a:srgbClr val="2D3494"/>
    <a:srgbClr val="E30F3C"/>
    <a:srgbClr val="2F2A85"/>
    <a:srgbClr val="2F3696"/>
    <a:srgbClr val="9BA0E1"/>
    <a:srgbClr val="7B82D7"/>
    <a:srgbClr val="FC0652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676" autoAdjust="0"/>
    <p:restoredTop sz="95400" autoAdjust="0"/>
  </p:normalViewPr>
  <p:slideViewPr>
    <p:cSldViewPr>
      <p:cViewPr varScale="1">
        <p:scale>
          <a:sx n="245" d="100"/>
          <a:sy n="245" d="100"/>
        </p:scale>
        <p:origin x="204" y="450"/>
      </p:cViewPr>
      <p:guideLst>
        <p:guide orient="horz" pos="346"/>
        <p:guide orient="horz" pos="618"/>
        <p:guide orient="horz" pos="210"/>
        <p:guide pos="211"/>
        <p:guide orient="horz" pos="2614"/>
        <p:guide orient="horz" pos="391"/>
        <p:guide/>
      </p:guideLst>
    </p:cSldViewPr>
  </p:slideViewPr>
  <p:outlineViewPr>
    <p:cViewPr>
      <p:scale>
        <a:sx n="33" d="100"/>
        <a:sy n="33" d="100"/>
      </p:scale>
      <p:origin x="0" y="-178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75" d="100"/>
          <a:sy n="75" d="100"/>
        </p:scale>
        <p:origin x="2562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5529" y="1"/>
            <a:ext cx="2920253" cy="495380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r">
              <a:defRPr sz="1100"/>
            </a:lvl1pPr>
          </a:lstStyle>
          <a:p>
            <a:fld id="{E1861F00-2111-439B-B6A4-2886F1B708E8}" type="datetimeFigureOut">
              <a:rPr lang="ru-RU" smtClean="0"/>
              <a:t>09.04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3" y="9380462"/>
            <a:ext cx="2920253" cy="495380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5529" y="9380462"/>
            <a:ext cx="2920253" cy="495380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r">
              <a:defRPr sz="1100"/>
            </a:lvl1pPr>
          </a:lstStyle>
          <a:p>
            <a:fld id="{0E4A44FB-600E-4736-9864-2F9B8AA1E1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01067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2"/>
            <a:ext cx="2919521" cy="493793"/>
          </a:xfrm>
          <a:prstGeom prst="rect">
            <a:avLst/>
          </a:prstGeom>
        </p:spPr>
        <p:txBody>
          <a:bodyPr vert="horz" lIns="92263" tIns="46131" rIns="92263" bIns="46131" rtlCol="0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6278" y="2"/>
            <a:ext cx="2919521" cy="493793"/>
          </a:xfrm>
          <a:prstGeom prst="rect">
            <a:avLst/>
          </a:prstGeom>
        </p:spPr>
        <p:txBody>
          <a:bodyPr vert="horz" lIns="92263" tIns="46131" rIns="92263" bIns="46131" rtlCol="0"/>
          <a:lstStyle>
            <a:lvl1pPr algn="r">
              <a:defRPr sz="1100"/>
            </a:lvl1pPr>
          </a:lstStyle>
          <a:p>
            <a:fld id="{4D0E216C-3BF1-4714-851B-ADD0545D47CD}" type="datetimeFigureOut">
              <a:rPr lang="ru-RU" smtClean="0"/>
              <a:pPr/>
              <a:t>09.04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6200" y="742950"/>
            <a:ext cx="6584950" cy="3705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63" tIns="46131" rIns="92263" bIns="46131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738" y="4691029"/>
            <a:ext cx="5389880" cy="4444126"/>
          </a:xfrm>
          <a:prstGeom prst="rect">
            <a:avLst/>
          </a:prstGeom>
        </p:spPr>
        <p:txBody>
          <a:bodyPr vert="horz" lIns="92263" tIns="46131" rIns="92263" bIns="46131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380335"/>
            <a:ext cx="2919521" cy="493793"/>
          </a:xfrm>
          <a:prstGeom prst="rect">
            <a:avLst/>
          </a:prstGeom>
        </p:spPr>
        <p:txBody>
          <a:bodyPr vert="horz" lIns="92263" tIns="46131" rIns="92263" bIns="46131" rtlCol="0" anchor="b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6278" y="9380335"/>
            <a:ext cx="2919521" cy="493793"/>
          </a:xfrm>
          <a:prstGeom prst="rect">
            <a:avLst/>
          </a:prstGeom>
        </p:spPr>
        <p:txBody>
          <a:bodyPr vert="horz" lIns="92263" tIns="46131" rIns="92263" bIns="46131" rtlCol="0" anchor="b"/>
          <a:lstStyle>
            <a:lvl1pPr algn="r">
              <a:defRPr sz="1100"/>
            </a:lvl1pPr>
          </a:lstStyle>
          <a:p>
            <a:fld id="{AD6589B5-5F50-4E8F-963F-8AB0E4CE608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99512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1" y="0"/>
            <a:ext cx="12184898" cy="68580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 rotWithShape="1">
          <a:blip r:embed="rId3"/>
          <a:srcRect l="84256" r="2160"/>
          <a:stretch/>
        </p:blipFill>
        <p:spPr>
          <a:xfrm>
            <a:off x="10560496" y="6224375"/>
            <a:ext cx="1293937" cy="38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386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1" y="0"/>
            <a:ext cx="12184898" cy="68580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 rotWithShape="1">
          <a:blip r:embed="rId3"/>
          <a:srcRect l="84256" r="2160"/>
          <a:stretch/>
        </p:blipFill>
        <p:spPr>
          <a:xfrm>
            <a:off x="10560496" y="6224375"/>
            <a:ext cx="1293937" cy="38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836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776351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60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9376" y="116632"/>
            <a:ext cx="11375057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sz="2800" b="1">
                <a:solidFill>
                  <a:srgbClr val="0146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endParaRPr lang="ru-RU" dirty="0"/>
          </a:p>
        </p:txBody>
      </p:sp>
      <p:sp>
        <p:nvSpPr>
          <p:cNvPr id="7" name="Текст 10"/>
          <p:cNvSpPr>
            <a:spLocks noGrp="1"/>
          </p:cNvSpPr>
          <p:nvPr>
            <p:ph type="body" sz="quarter" idx="12"/>
          </p:nvPr>
        </p:nvSpPr>
        <p:spPr>
          <a:xfrm>
            <a:off x="479376" y="1628800"/>
            <a:ext cx="11375057" cy="4464496"/>
          </a:xfrm>
        </p:spPr>
        <p:txBody>
          <a:bodyPr/>
          <a:lstStyle>
            <a:lvl1pPr>
              <a:lnSpc>
                <a:spcPts val="2400"/>
              </a:lnSpc>
              <a:spcBef>
                <a:spcPts val="450"/>
              </a:spcBef>
              <a:buClr>
                <a:srgbClr val="014694"/>
              </a:buClr>
              <a:defRPr sz="16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lnSpc>
                <a:spcPts val="2400"/>
              </a:lnSpc>
              <a:spcBef>
                <a:spcPts val="450"/>
              </a:spcBef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6"/>
          <a:srcRect l="84256" r="2160"/>
          <a:stretch/>
        </p:blipFill>
        <p:spPr>
          <a:xfrm>
            <a:off x="10560496" y="6224375"/>
            <a:ext cx="1293937" cy="38636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69626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13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479376" y="1628800"/>
            <a:ext cx="11375057" cy="4464496"/>
          </a:xfrm>
        </p:spPr>
        <p:txBody>
          <a:bodyPr/>
          <a:lstStyle>
            <a:lvl1pPr>
              <a:lnSpc>
                <a:spcPts val="2400"/>
              </a:lnSpc>
              <a:spcBef>
                <a:spcPts val="450"/>
              </a:spcBef>
              <a:buClr>
                <a:srgbClr val="014694"/>
              </a:buClr>
              <a:defRPr sz="16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lnSpc>
                <a:spcPts val="2400"/>
              </a:lnSpc>
              <a:spcBef>
                <a:spcPts val="450"/>
              </a:spcBef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9376" y="116632"/>
            <a:ext cx="11375057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sz="2800" b="1">
                <a:solidFill>
                  <a:srgbClr val="0146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 rotWithShape="1">
          <a:blip r:embed="rId6"/>
          <a:srcRect l="84256" r="2160"/>
          <a:stretch/>
        </p:blipFill>
        <p:spPr>
          <a:xfrm>
            <a:off x="10560496" y="6224375"/>
            <a:ext cx="1293937" cy="38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859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6646045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78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0" name="Pictur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260003"/>
            <a:ext cx="11520000" cy="490530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6004666" y="6513086"/>
            <a:ext cx="179536" cy="184666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663" r:id="rId3"/>
    <p:sldLayoutId id="2147483704" r:id="rId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685800" rtl="0" eaLnBrk="1" latinLnBrk="0" hangingPunct="1">
        <a:spcBef>
          <a:spcPct val="0"/>
        </a:spcBef>
        <a:buNone/>
        <a:defRPr sz="135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450"/>
        </a:spcBef>
        <a:buClr>
          <a:srgbClr val="014694"/>
        </a:buClr>
        <a:buFont typeface="Arial" pitchFamily="34" charset="0"/>
        <a:buNone/>
        <a:defRPr sz="1400" b="0" i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35000" indent="-135000" algn="l" defTabSz="685800" rtl="0" eaLnBrk="1" latinLnBrk="0" hangingPunct="1">
        <a:spcBef>
          <a:spcPts val="225"/>
        </a:spcBef>
        <a:buClr>
          <a:srgbClr val="014694"/>
        </a:buClr>
        <a:buFont typeface="Wingdings" pitchFamily="2" charset="2"/>
        <a:buChar char="§"/>
        <a:defRPr sz="14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2pPr>
      <a:lvl3pPr marL="270000" indent="-135000" algn="l" defTabSz="685800" rtl="0" eaLnBrk="1" latinLnBrk="0" hangingPunct="1">
        <a:spcBef>
          <a:spcPts val="225"/>
        </a:spcBef>
        <a:buClr>
          <a:srgbClr val="014694"/>
        </a:buClr>
        <a:buFont typeface="Arial" pitchFamily="34" charset="0"/>
        <a:buChar char="–"/>
        <a:defRPr sz="14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3pPr>
      <a:lvl4pPr marL="405000" indent="-135000" algn="l" defTabSz="685800" rtl="0" eaLnBrk="1" latinLnBrk="0" hangingPunct="1">
        <a:spcBef>
          <a:spcPts val="225"/>
        </a:spcBef>
        <a:buClr>
          <a:srgbClr val="014694"/>
        </a:buClr>
        <a:buFont typeface="Arial" pitchFamily="34" charset="0"/>
        <a:buChar char="•"/>
        <a:defRPr sz="14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4pPr>
      <a:lvl5pPr marL="540000" indent="-135000" algn="l" defTabSz="685800" rtl="0" eaLnBrk="1" latinLnBrk="0" hangingPunct="1">
        <a:spcBef>
          <a:spcPts val="225"/>
        </a:spcBef>
        <a:buClr>
          <a:srgbClr val="014694"/>
        </a:buClr>
        <a:buFont typeface="Arial" pitchFamily="34" charset="0"/>
        <a:buChar char="•"/>
        <a:defRPr sz="14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4" Type="http://schemas.microsoft.com/office/2007/relationships/hdphoto" Target="../media/hdphoto3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microsoft.com/office/2007/relationships/hdphoto" Target="../media/hdphoto5.wdp"/><Relationship Id="rId5" Type="http://schemas.openxmlformats.org/officeDocument/2006/relationships/image" Target="../media/image22.png"/><Relationship Id="rId4" Type="http://schemas.microsoft.com/office/2007/relationships/hdphoto" Target="../media/hdphoto4.wdp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Relationship Id="rId4" Type="http://schemas.microsoft.com/office/2007/relationships/hdphoto" Target="../media/hdphoto6.wdp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hyperlink" Target="https://shop.prosv.ru/vserossijskie-proverochnye-raboty--matematika--15-tipovyx-variantov--7-klass15118" TargetMode="Externa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hyperlink" Target="https://shop.prosv.ru/vserossijskie-proverochnye-raboty--matematika--15-tipovyx-variantov--7-klass15118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6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hyperlink" Target="https://shop.prosv.ru/vserossijskie-proverochnye-raboty--matematika--15-tipovyx-variantov--7-klass15118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7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hyperlink" Target="https://shop.prosv.ru/vserossijskie-proverochnye-raboty--matematika--15-tipovyx-variantov--7-klass15118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hyperlink" Target="https://shop.prosv.ru/vserossijskie-proverochnye-raboty--matematika--15-tipovyx-variantov--7-klass15118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0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hyperlink" Target="https://shop.prosv.ru/vserossijskie-proverochnye-raboty--matematika--15-tipovyx-variantov--7-klass15118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0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hyperlink" Target="https://shop.prosv.ru/vserossijskie-proverochnye-raboty--matematika--15-tipovyx-variantov--7-klass15118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0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hyperlink" Target="https://shop.prosv.ru/vserossijskie-proverochnye-raboty--matematika--15-tipovyx-variantov--7-klass15118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hyperlink" Target="https://shop.prosv.ru/vserossijskie-proverochnye-raboty--matematika--15-tipovyx-variantov--7-klass15118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1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hyperlink" Target="https://shop.prosv.ru/vserossijskie-proverochnye-raboty--matematika--15-tipovyx-variantov--7-klass15118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1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hyperlink" Target="https://shop.prosv.ru/vserossijskie-proverochnye-raboty--matematika--15-tipovyx-variantov--7-klass15118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hyperlink" Target="https://shop.prosv.ru/vserossijskie-proverochnye-raboty--matematika--15-tipovyx-variantov--7-klass15118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hyperlink" Target="https://shop.prosv.ru/vserossijskie-proverochnye-raboty--matematika--15-tipovyx-variantov--7-klass15118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hyperlink" Target="https://shop.prosv.ru/vserossijskie-proverochnye-raboty--matematika--15-tipovyx-variantov--7-klass15118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hyperlink" Target="https://shop.prosv.ru/vserossijskie-proverochnye-raboty--matematika--15-tipovyx-variantov--7-klass15118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hyperlink" Target="https://shop.prosv.ru/vserossijskie-proverochnye-raboty--matematika--15-tipovyx-variantov--7-klass15118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6.gif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image" Target="../media/image47.jpeg"/><Relationship Id="rId7" Type="http://schemas.openxmlformats.org/officeDocument/2006/relationships/image" Target="../media/image51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0.jpeg"/><Relationship Id="rId5" Type="http://schemas.openxmlformats.org/officeDocument/2006/relationships/image" Target="../media/image49.gif"/><Relationship Id="rId4" Type="http://schemas.openxmlformats.org/officeDocument/2006/relationships/image" Target="../media/image48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" TargetMode="External"/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9.gif"/><Relationship Id="rId4" Type="http://schemas.openxmlformats.org/officeDocument/2006/relationships/image" Target="../media/image54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s://cifra.school/#lessons" TargetMode="External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4.png"/><Relationship Id="rId4" Type="http://schemas.openxmlformats.org/officeDocument/2006/relationships/image" Target="../media/image5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Relationship Id="rId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2204864"/>
            <a:ext cx="12192000" cy="25922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0" name="Заголовок 4"/>
          <p:cNvSpPr txBox="1">
            <a:spLocks/>
          </p:cNvSpPr>
          <p:nvPr/>
        </p:nvSpPr>
        <p:spPr>
          <a:xfrm>
            <a:off x="1460798" y="692696"/>
            <a:ext cx="3998875" cy="65981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smtClean="0">
                <a:solidFill>
                  <a:srgbClr val="F98420"/>
                </a:solidFill>
                <a:latin typeface="+mn-lt"/>
              </a:rPr>
              <a:t>МАТЕМАТИКА</a:t>
            </a:r>
            <a:endParaRPr lang="ru-RU" sz="2800" dirty="0">
              <a:solidFill>
                <a:srgbClr val="F98420"/>
              </a:solidFill>
              <a:latin typeface="+mn-lt"/>
            </a:endParaRPr>
          </a:p>
        </p:txBody>
      </p:sp>
      <p:sp>
        <p:nvSpPr>
          <p:cNvPr id="19" name="Заголовок 4"/>
          <p:cNvSpPr txBox="1">
            <a:spLocks/>
          </p:cNvSpPr>
          <p:nvPr/>
        </p:nvSpPr>
        <p:spPr>
          <a:xfrm>
            <a:off x="551320" y="2586731"/>
            <a:ext cx="11089296" cy="1828554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400" dirty="0" smtClean="0">
                <a:solidFill>
                  <a:srgbClr val="014694"/>
                </a:solidFill>
                <a:latin typeface="+mn-lt"/>
              </a:rPr>
              <a:t>Готовимся к Всероссийской</a:t>
            </a:r>
          </a:p>
          <a:p>
            <a:r>
              <a:rPr lang="ru-RU" sz="4400" smtClean="0">
                <a:solidFill>
                  <a:srgbClr val="014694"/>
                </a:solidFill>
                <a:latin typeface="+mn-lt"/>
              </a:rPr>
              <a:t>проверочной работе</a:t>
            </a:r>
            <a:endParaRPr lang="ru-RU" sz="4000" dirty="0">
              <a:solidFill>
                <a:srgbClr val="014694"/>
              </a:solidFill>
              <a:latin typeface="+mn-lt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760296" y="505604"/>
            <a:ext cx="2983030" cy="1023127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r"/>
            <a:r>
              <a:rPr lang="ru-RU" sz="5400" b="1" dirty="0" smtClean="0">
                <a:solidFill>
                  <a:srgbClr val="014694"/>
                </a:solidFill>
              </a:rPr>
              <a:t>7 класс</a:t>
            </a:r>
            <a:endParaRPr lang="ru-RU" sz="2800" b="1" dirty="0" smtClean="0">
              <a:solidFill>
                <a:srgbClr val="014694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400" y="765706"/>
            <a:ext cx="502921" cy="502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076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1744" y="1556792"/>
            <a:ext cx="33909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2457" y="1937792"/>
            <a:ext cx="10087086" cy="4248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16597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1744" y="1556792"/>
            <a:ext cx="33909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0622" y="1937792"/>
            <a:ext cx="8863927" cy="2283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9496" y="4229447"/>
            <a:ext cx="7172742" cy="1935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10897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1744" y="1556792"/>
            <a:ext cx="33909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1464" y="1937792"/>
            <a:ext cx="8495029" cy="4083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8893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98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5480" y="1533318"/>
            <a:ext cx="8568952" cy="4967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9808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15380" y="1628800"/>
            <a:ext cx="1116124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ОКРУГЛЕНИЕ ДЕСЯТИЧНЫХ ДРОБЕЙ</a:t>
            </a:r>
            <a:endParaRPr lang="en-US" sz="2800" b="1" dirty="0" smtClean="0">
              <a:solidFill>
                <a:srgbClr val="002060"/>
              </a:solidFill>
            </a:endParaRPr>
          </a:p>
          <a:p>
            <a:pPr algn="ctr"/>
            <a:endParaRPr lang="en-US" sz="2800" b="1" dirty="0">
              <a:solidFill>
                <a:srgbClr val="002060"/>
              </a:solidFill>
            </a:endParaRPr>
          </a:p>
          <a:p>
            <a:r>
              <a:rPr lang="ru-RU" sz="2800" dirty="0">
                <a:solidFill>
                  <a:srgbClr val="002060"/>
                </a:solidFill>
              </a:rPr>
              <a:t>1) Если первая отброшенная или заменённая нулём цифра равна 5</a:t>
            </a:r>
            <a:r>
              <a:rPr lang="ru-RU" sz="2800" dirty="0" smtClean="0">
                <a:solidFill>
                  <a:srgbClr val="002060"/>
                </a:solidFill>
              </a:rPr>
              <a:t>,</a:t>
            </a:r>
            <a:r>
              <a:rPr lang="en-US" sz="2800" dirty="0" smtClean="0">
                <a:solidFill>
                  <a:srgbClr val="002060"/>
                </a:solidFill>
              </a:rPr>
              <a:t> </a:t>
            </a:r>
            <a:r>
              <a:rPr lang="ru-RU" sz="2800" dirty="0" smtClean="0">
                <a:solidFill>
                  <a:srgbClr val="002060"/>
                </a:solidFill>
              </a:rPr>
              <a:t>6</a:t>
            </a:r>
            <a:r>
              <a:rPr lang="ru-RU" sz="2800" dirty="0">
                <a:solidFill>
                  <a:srgbClr val="002060"/>
                </a:solidFill>
              </a:rPr>
              <a:t>, 7, 8, 9, то стоящую перед ней цифру увеличивают на 1.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Если первая отброшенная или заменённая нулём цифра равна 0</a:t>
            </a:r>
            <a:r>
              <a:rPr lang="ru-RU" sz="2800" dirty="0" smtClean="0">
                <a:solidFill>
                  <a:srgbClr val="002060"/>
                </a:solidFill>
              </a:rPr>
              <a:t>,</a:t>
            </a:r>
            <a:r>
              <a:rPr lang="en-US" sz="2800" dirty="0" smtClean="0">
                <a:solidFill>
                  <a:srgbClr val="002060"/>
                </a:solidFill>
              </a:rPr>
              <a:t> </a:t>
            </a:r>
            <a:r>
              <a:rPr lang="ru-RU" sz="2800" dirty="0" smtClean="0">
                <a:solidFill>
                  <a:srgbClr val="002060"/>
                </a:solidFill>
              </a:rPr>
              <a:t>1</a:t>
            </a:r>
            <a:r>
              <a:rPr lang="ru-RU" sz="2800" dirty="0">
                <a:solidFill>
                  <a:srgbClr val="002060"/>
                </a:solidFill>
              </a:rPr>
              <a:t>, 2, 3, 4, то стоящую перед ней цифру оставляют без изменения</a:t>
            </a:r>
            <a:r>
              <a:rPr lang="ru-RU" sz="2800" dirty="0" smtClean="0">
                <a:solidFill>
                  <a:srgbClr val="002060"/>
                </a:solidFill>
              </a:rPr>
              <a:t>.</a:t>
            </a:r>
            <a:endParaRPr lang="en-US" sz="2800" dirty="0" smtClean="0">
              <a:solidFill>
                <a:srgbClr val="002060"/>
              </a:solidFill>
            </a:endParaRPr>
          </a:p>
          <a:p>
            <a:r>
              <a:rPr lang="ru-RU" sz="2800" b="1" dirty="0">
                <a:solidFill>
                  <a:srgbClr val="002060"/>
                </a:solidFill>
              </a:rPr>
              <a:t>ПРИМЕР.</a:t>
            </a:r>
            <a:r>
              <a:rPr lang="ru-RU" sz="2800" dirty="0">
                <a:solidFill>
                  <a:srgbClr val="002060"/>
                </a:solidFill>
              </a:rPr>
              <a:t> Округлите:</a:t>
            </a:r>
          </a:p>
          <a:p>
            <a:r>
              <a:rPr lang="ru-RU" sz="2800" dirty="0">
                <a:solidFill>
                  <a:srgbClr val="002060"/>
                </a:solidFill>
              </a:rPr>
              <a:t>1) 251,73 до десятых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4,547 до сотых;</a:t>
            </a:r>
          </a:p>
        </p:txBody>
      </p:sp>
    </p:spTree>
    <p:extLst>
      <p:ext uri="{BB962C8B-B14F-4D97-AF65-F5344CB8AC3E}">
        <p14:creationId xmlns:p14="http://schemas.microsoft.com/office/powerpoint/2010/main" val="2222907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08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3472" y="2132856"/>
            <a:ext cx="9268951" cy="403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8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284" y="1672811"/>
            <a:ext cx="2981325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70682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08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284" y="1672811"/>
            <a:ext cx="2981325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512" y="2348880"/>
            <a:ext cx="9164276" cy="36724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52455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089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7284" y="1457444"/>
            <a:ext cx="2981325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9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9540" y="1841056"/>
            <a:ext cx="9612920" cy="1875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94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7329" y="3933056"/>
            <a:ext cx="9595131" cy="2061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6428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39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503" y="1566980"/>
            <a:ext cx="9347123" cy="44543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84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424" y="1364574"/>
            <a:ext cx="9495934" cy="2496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49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408" y="3717032"/>
            <a:ext cx="9810912" cy="2376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11096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479376" y="1556792"/>
            <a:ext cx="11375057" cy="4536504"/>
          </a:xfrm>
        </p:spPr>
        <p:txBody>
          <a:bodyPr/>
          <a:lstStyle/>
          <a:p>
            <a:pPr algn="ctr"/>
            <a:endParaRPr lang="ru-RU" sz="3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3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4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емя выполнения работы – 90 минут.</a:t>
            </a:r>
          </a:p>
          <a:p>
            <a:pPr algn="ctr"/>
            <a:endParaRPr lang="ru-RU" sz="40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4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</a:t>
            </a:r>
            <a:r>
              <a:rPr lang="ru-RU" sz="4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ержит </a:t>
            </a:r>
            <a:r>
              <a:rPr lang="ru-RU" sz="4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 заданий.</a:t>
            </a:r>
            <a:endParaRPr lang="ru-RU" sz="4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81677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929"/>
          <a:stretch/>
        </p:blipFill>
        <p:spPr bwMode="auto">
          <a:xfrm>
            <a:off x="911424" y="1364574"/>
            <a:ext cx="9495934" cy="476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60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486" y="1840196"/>
            <a:ext cx="9683027" cy="43204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4056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9496" y="1357014"/>
            <a:ext cx="8733318" cy="2016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043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2920"/>
          <a:stretch/>
        </p:blipFill>
        <p:spPr bwMode="auto">
          <a:xfrm>
            <a:off x="1127448" y="3394997"/>
            <a:ext cx="9251030" cy="2167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8801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80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280" y="2276872"/>
            <a:ext cx="9617750" cy="2664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956"/>
          <a:stretch/>
        </p:blipFill>
        <p:spPr bwMode="auto">
          <a:xfrm>
            <a:off x="1559496" y="1357014"/>
            <a:ext cx="8733318" cy="424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82305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8956"/>
          <a:stretch/>
        </p:blipFill>
        <p:spPr bwMode="auto">
          <a:xfrm>
            <a:off x="1559496" y="1357014"/>
            <a:ext cx="8733318" cy="424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90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464" y="1988840"/>
            <a:ext cx="9831370" cy="3856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2386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528" y="1369529"/>
            <a:ext cx="8280920" cy="5378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0903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" name="Рисунок 7">
            <a:hlinkClick r:id="rId2"/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5168" y="1340768"/>
            <a:ext cx="1116832" cy="14851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336" y="842717"/>
            <a:ext cx="6778697" cy="396640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1424" y="3378490"/>
            <a:ext cx="7666972" cy="347951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10038" y="1369789"/>
            <a:ext cx="3365796" cy="55203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24069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" name="Рисунок 7">
            <a:hlinkClick r:id="rId2"/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5168" y="1340768"/>
            <a:ext cx="1116832" cy="14851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399" y="1028697"/>
            <a:ext cx="9866565" cy="58421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411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" name="Рисунок 7">
            <a:hlinkClick r:id="rId2"/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5168" y="1340768"/>
            <a:ext cx="1116832" cy="14851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7408" y="1057519"/>
            <a:ext cx="9974098" cy="5892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4692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" name="Рисунок 7">
            <a:hlinkClick r:id="rId2"/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5168" y="1340768"/>
            <a:ext cx="1116832" cy="148514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55640" y="1244612"/>
            <a:ext cx="5565145" cy="56194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800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7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633" y="1340768"/>
            <a:ext cx="2448272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</a:t>
            </a:r>
            <a:r>
              <a:rPr lang="en-US" sz="2000" b="1" dirty="0" smtClean="0">
                <a:solidFill>
                  <a:srgbClr val="002060"/>
                </a:solidFill>
              </a:rPr>
              <a:t>1</a:t>
            </a:r>
            <a:endParaRPr lang="ru-RU" sz="2000" b="1" dirty="0" smtClean="0">
              <a:solidFill>
                <a:srgbClr val="002060"/>
              </a:solidFill>
            </a:endParaRPr>
          </a:p>
          <a:p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9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7 класс (Черняева М.А., Доброхвалов Р.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9660" y="1685396"/>
            <a:ext cx="2012982" cy="26765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368" y="1685394"/>
            <a:ext cx="8712968" cy="5115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243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479376" y="1556792"/>
            <a:ext cx="11375057" cy="4536504"/>
          </a:xfrm>
        </p:spPr>
        <p:txBody>
          <a:bodyPr/>
          <a:lstStyle/>
          <a:p>
            <a:pPr algn="ctr"/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льзя пользоваться учебниками</a:t>
            </a:r>
            <a:r>
              <a:rPr lang="ru-RU" sz="40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равочниками</a:t>
            </a:r>
            <a:r>
              <a:rPr lang="ru-RU" sz="40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ькулятором</a:t>
            </a:r>
            <a:r>
              <a:rPr lang="ru-RU" sz="4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ctr"/>
            <a:endParaRPr lang="ru-RU" sz="4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жно пользоваться </a:t>
            </a:r>
            <a:r>
              <a:rPr lang="ru-RU" sz="4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новиком. </a:t>
            </a:r>
            <a:endParaRPr lang="ru-RU" sz="40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иси </a:t>
            </a:r>
            <a:r>
              <a:rPr lang="ru-RU" sz="4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черновике проверяться</a:t>
            </a:r>
          </a:p>
          <a:p>
            <a:pPr algn="ctr"/>
            <a:r>
              <a:rPr lang="ru-RU" sz="40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иваться </a:t>
            </a:r>
            <a:r>
              <a:rPr lang="ru-RU" sz="4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будут.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23719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7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633" y="1340768"/>
            <a:ext cx="2448272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</a:t>
            </a:r>
            <a:r>
              <a:rPr lang="en-US" sz="2000" b="1" dirty="0" smtClean="0">
                <a:solidFill>
                  <a:srgbClr val="002060"/>
                </a:solidFill>
              </a:rPr>
              <a:t>1</a:t>
            </a:r>
            <a:endParaRPr lang="ru-RU" sz="2000" b="1" dirty="0" smtClean="0">
              <a:solidFill>
                <a:srgbClr val="002060"/>
              </a:solidFill>
            </a:endParaRPr>
          </a:p>
          <a:p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9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7 класс (Черняева М.А., Доброхвалов Р.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9660" y="1685396"/>
            <a:ext cx="2012982" cy="26765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368" y="1685394"/>
            <a:ext cx="8712968" cy="5115433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458905" y="2546613"/>
            <a:ext cx="378111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+ b = 816;</a:t>
            </a:r>
          </a:p>
          <a:p>
            <a:r>
              <a:rPr lang="en-US" sz="28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 = 5a </a:t>
            </a:r>
            <a:endParaRPr lang="ru-RU" sz="28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863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7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633" y="1340768"/>
            <a:ext cx="2448272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</a:t>
            </a:r>
            <a:r>
              <a:rPr lang="en-US" sz="2000" b="1" dirty="0" smtClean="0">
                <a:solidFill>
                  <a:srgbClr val="002060"/>
                </a:solidFill>
              </a:rPr>
              <a:t>1</a:t>
            </a:r>
            <a:endParaRPr lang="ru-RU" sz="2000" b="1" dirty="0" smtClean="0">
              <a:solidFill>
                <a:srgbClr val="002060"/>
              </a:solidFill>
            </a:endParaRPr>
          </a:p>
          <a:p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9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7 класс (Черняева М.А., Доброхвалов Р.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9660" y="1685396"/>
            <a:ext cx="2012982" cy="26765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368" y="1685394"/>
            <a:ext cx="8712968" cy="5115433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458905" y="2546613"/>
            <a:ext cx="378111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+ b = 816;</a:t>
            </a:r>
          </a:p>
          <a:p>
            <a:r>
              <a:rPr lang="en-US" sz="28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 = 5a </a:t>
            </a:r>
            <a:endParaRPr lang="ru-RU" sz="28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262393" y="3429000"/>
            <a:ext cx="288939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+ 5a = 816;</a:t>
            </a:r>
          </a:p>
          <a:p>
            <a:r>
              <a:rPr lang="en-US" sz="28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a = 816;</a:t>
            </a:r>
          </a:p>
          <a:p>
            <a:r>
              <a:rPr lang="en-US" sz="28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= 136. </a:t>
            </a:r>
            <a:endParaRPr lang="ru-RU" sz="28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3104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7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633" y="1340768"/>
            <a:ext cx="2448272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</a:t>
            </a:r>
            <a:r>
              <a:rPr lang="en-US" sz="2000" b="1" dirty="0" smtClean="0">
                <a:solidFill>
                  <a:srgbClr val="002060"/>
                </a:solidFill>
              </a:rPr>
              <a:t>1</a:t>
            </a:r>
            <a:endParaRPr lang="ru-RU" sz="2000" b="1" dirty="0" smtClean="0">
              <a:solidFill>
                <a:srgbClr val="002060"/>
              </a:solidFill>
            </a:endParaRPr>
          </a:p>
          <a:p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9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7 класс (Черняева М.А., Доброхвалов Р.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9660" y="1685396"/>
            <a:ext cx="2012982" cy="26765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7368" y="1685394"/>
            <a:ext cx="8712968" cy="5115433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458905" y="2546613"/>
            <a:ext cx="378111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+ b = 816;</a:t>
            </a:r>
          </a:p>
          <a:p>
            <a:r>
              <a:rPr lang="en-US" sz="28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b = 5a </a:t>
            </a:r>
            <a:endParaRPr lang="ru-RU" sz="28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262393" y="3429000"/>
            <a:ext cx="288939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+ 5a = 816;</a:t>
            </a:r>
          </a:p>
          <a:p>
            <a:r>
              <a:rPr lang="en-US" sz="28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a = 816;</a:t>
            </a:r>
          </a:p>
          <a:p>
            <a:r>
              <a:rPr lang="en-US" sz="28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a = 136. </a:t>
            </a:r>
            <a:endParaRPr lang="ru-RU" sz="28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030739" y="3551242"/>
            <a:ext cx="31451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 = </a:t>
            </a:r>
            <a:r>
              <a:rPr lang="en-US" sz="28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 · 136 = 680. </a:t>
            </a:r>
            <a:endParaRPr lang="ru-RU" sz="28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030739" y="4307294"/>
            <a:ext cx="38735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 </a:t>
            </a:r>
            <a:r>
              <a:rPr lang="en-US" sz="28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– a = 680 </a:t>
            </a:r>
            <a:r>
              <a:rPr lang="en-US" sz="28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en-US" sz="28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136 = 544. </a:t>
            </a:r>
            <a:endParaRPr lang="ru-RU" sz="28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438135" y="6093296"/>
            <a:ext cx="43962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544. </a:t>
            </a:r>
            <a:endParaRPr lang="ru-RU" sz="28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60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7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633" y="1340768"/>
            <a:ext cx="2448272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</a:t>
            </a:r>
            <a:r>
              <a:rPr lang="en-US" sz="2000" b="1" dirty="0" smtClean="0">
                <a:solidFill>
                  <a:srgbClr val="002060"/>
                </a:solidFill>
              </a:rPr>
              <a:t>1</a:t>
            </a:r>
            <a:endParaRPr lang="ru-RU" sz="2000" b="1" dirty="0" smtClean="0">
              <a:solidFill>
                <a:srgbClr val="002060"/>
              </a:solidFill>
            </a:endParaRPr>
          </a:p>
          <a:p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9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7 класс (Черняева М.А., Доброхвалов Р.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9660" y="1685396"/>
            <a:ext cx="2012982" cy="26765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33" y="1910155"/>
            <a:ext cx="9591557" cy="3779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8269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7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633" y="1340768"/>
            <a:ext cx="2448272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</a:t>
            </a:r>
            <a:r>
              <a:rPr lang="en-US" sz="2000" b="1" dirty="0" smtClean="0">
                <a:solidFill>
                  <a:srgbClr val="002060"/>
                </a:solidFill>
              </a:rPr>
              <a:t>1</a:t>
            </a:r>
            <a:endParaRPr lang="ru-RU" sz="2000" b="1" dirty="0" smtClean="0">
              <a:solidFill>
                <a:srgbClr val="002060"/>
              </a:solidFill>
            </a:endParaRPr>
          </a:p>
          <a:p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9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7 класс (Черняева М.А., Доброхвалов Р.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9660" y="1685396"/>
            <a:ext cx="2012982" cy="26765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33" y="1910155"/>
            <a:ext cx="9591557" cy="3779455"/>
          </a:xfrm>
          <a:prstGeom prst="rect">
            <a:avLst/>
          </a:prstGeom>
        </p:spPr>
      </p:pic>
      <p:grpSp>
        <p:nvGrpSpPr>
          <p:cNvPr id="10" name="Группа 9"/>
          <p:cNvGrpSpPr/>
          <p:nvPr/>
        </p:nvGrpSpPr>
        <p:grpSpPr>
          <a:xfrm>
            <a:off x="4342178" y="3146024"/>
            <a:ext cx="5157003" cy="1307716"/>
            <a:chOff x="6292332" y="2776485"/>
            <a:chExt cx="5157003" cy="1307716"/>
          </a:xfrm>
        </p:grpSpPr>
        <p:cxnSp>
          <p:nvCxnSpPr>
            <p:cNvPr id="11" name="Прямая соединительная линия 10"/>
            <p:cNvCxnSpPr/>
            <p:nvPr/>
          </p:nvCxnSpPr>
          <p:spPr>
            <a:xfrm>
              <a:off x="6387867" y="2776485"/>
              <a:ext cx="4965933" cy="1307716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292332" y="2776485"/>
              <a:ext cx="5157003" cy="719824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8817305" y="2911533"/>
              <a:ext cx="34119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3200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α</a:t>
              </a:r>
              <a:endParaRPr lang="ru-RU" sz="32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7971356" y="3203920"/>
              <a:ext cx="34119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2800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β</a:t>
              </a:r>
              <a:endParaRPr lang="ru-RU" sz="28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65937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7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633" y="1340768"/>
            <a:ext cx="2448272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</a:t>
            </a:r>
            <a:r>
              <a:rPr lang="en-US" sz="2000" b="1" dirty="0" smtClean="0">
                <a:solidFill>
                  <a:srgbClr val="002060"/>
                </a:solidFill>
              </a:rPr>
              <a:t>1</a:t>
            </a:r>
            <a:endParaRPr lang="ru-RU" sz="2000" b="1" dirty="0" smtClean="0">
              <a:solidFill>
                <a:srgbClr val="002060"/>
              </a:solidFill>
            </a:endParaRPr>
          </a:p>
          <a:p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9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7 класс (Черняева М.А., Доброхвалов Р.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9660" y="1685396"/>
            <a:ext cx="2012982" cy="26765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33" y="1910155"/>
            <a:ext cx="9591557" cy="3779455"/>
          </a:xfrm>
          <a:prstGeom prst="rect">
            <a:avLst/>
          </a:prstGeom>
        </p:spPr>
      </p:pic>
      <p:grpSp>
        <p:nvGrpSpPr>
          <p:cNvPr id="10" name="Группа 9"/>
          <p:cNvGrpSpPr/>
          <p:nvPr/>
        </p:nvGrpSpPr>
        <p:grpSpPr>
          <a:xfrm>
            <a:off x="4539397" y="2924944"/>
            <a:ext cx="5157003" cy="1307716"/>
            <a:chOff x="6292332" y="2776485"/>
            <a:chExt cx="5157003" cy="1307716"/>
          </a:xfrm>
        </p:grpSpPr>
        <p:cxnSp>
          <p:nvCxnSpPr>
            <p:cNvPr id="11" name="Прямая соединительная линия 10"/>
            <p:cNvCxnSpPr/>
            <p:nvPr/>
          </p:nvCxnSpPr>
          <p:spPr>
            <a:xfrm>
              <a:off x="6387867" y="2776485"/>
              <a:ext cx="4965933" cy="1307716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292332" y="2776485"/>
              <a:ext cx="5157003" cy="719824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8817305" y="2911533"/>
              <a:ext cx="34119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3200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α</a:t>
              </a:r>
              <a:endParaRPr lang="ru-RU" sz="32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7971356" y="3203920"/>
              <a:ext cx="34119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2800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β</a:t>
              </a:r>
              <a:endParaRPr lang="ru-RU" sz="28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911424" y="3611632"/>
            <a:ext cx="981779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β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el-GR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α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r>
              <a:rPr lang="ru-RU" sz="2400" i="1" baseline="30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ледовательно</a:t>
            </a:r>
          </a:p>
          <a:p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l-GR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α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l-GR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β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r>
              <a:rPr lang="ru-RU" sz="2400" i="1" baseline="30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29370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7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633" y="1340768"/>
            <a:ext cx="2448272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</a:t>
            </a:r>
            <a:r>
              <a:rPr lang="en-US" sz="2000" b="1" dirty="0" smtClean="0">
                <a:solidFill>
                  <a:srgbClr val="002060"/>
                </a:solidFill>
              </a:rPr>
              <a:t>1</a:t>
            </a:r>
            <a:endParaRPr lang="ru-RU" sz="2000" b="1" dirty="0" smtClean="0">
              <a:solidFill>
                <a:srgbClr val="002060"/>
              </a:solidFill>
            </a:endParaRPr>
          </a:p>
          <a:p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9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7 класс (Черняева М.А., Доброхвалов Р.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9660" y="1685396"/>
            <a:ext cx="2012982" cy="26765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33" y="1910155"/>
            <a:ext cx="9591557" cy="3779455"/>
          </a:xfrm>
          <a:prstGeom prst="rect">
            <a:avLst/>
          </a:prstGeom>
        </p:spPr>
      </p:pic>
      <p:grpSp>
        <p:nvGrpSpPr>
          <p:cNvPr id="10" name="Группа 9"/>
          <p:cNvGrpSpPr/>
          <p:nvPr/>
        </p:nvGrpSpPr>
        <p:grpSpPr>
          <a:xfrm>
            <a:off x="4539397" y="2924944"/>
            <a:ext cx="5157003" cy="1307716"/>
            <a:chOff x="6292332" y="2776485"/>
            <a:chExt cx="5157003" cy="1307716"/>
          </a:xfrm>
        </p:grpSpPr>
        <p:cxnSp>
          <p:nvCxnSpPr>
            <p:cNvPr id="11" name="Прямая соединительная линия 10"/>
            <p:cNvCxnSpPr/>
            <p:nvPr/>
          </p:nvCxnSpPr>
          <p:spPr>
            <a:xfrm>
              <a:off x="6387867" y="2776485"/>
              <a:ext cx="4965933" cy="1307716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292332" y="2776485"/>
              <a:ext cx="5157003" cy="719824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Box 12"/>
            <p:cNvSpPr txBox="1"/>
            <p:nvPr/>
          </p:nvSpPr>
          <p:spPr>
            <a:xfrm>
              <a:off x="8817305" y="2911533"/>
              <a:ext cx="34119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3200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α</a:t>
              </a:r>
              <a:endParaRPr lang="ru-RU" sz="32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7971356" y="3203920"/>
              <a:ext cx="34119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l-GR" sz="2800" i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β</a:t>
              </a:r>
              <a:endParaRPr lang="ru-RU" sz="2800" i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911424" y="3611632"/>
            <a:ext cx="981779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β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– </a:t>
            </a:r>
            <a:r>
              <a:rPr lang="el-GR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α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r>
              <a:rPr lang="ru-RU" sz="2400" i="1" baseline="30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ледовательно</a:t>
            </a:r>
          </a:p>
          <a:p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l-GR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α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el-GR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β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r>
              <a:rPr lang="ru-RU" sz="2400" i="1" baseline="30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el-GR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β</a:t>
            </a:r>
            <a:r>
              <a:rPr lang="ru-RU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+ </a:t>
            </a:r>
            <a:r>
              <a:rPr lang="el-GR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α</a:t>
            </a:r>
            <a:r>
              <a:rPr lang="ru-RU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80</a:t>
            </a:r>
            <a:r>
              <a:rPr lang="ru-RU" sz="2400" i="1" baseline="30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сумма смежных углов)</a:t>
            </a:r>
          </a:p>
          <a:p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l-GR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β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20</a:t>
            </a:r>
            <a:r>
              <a:rPr lang="ru-RU" sz="2400" i="1" baseline="30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ru-RU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80</a:t>
            </a:r>
            <a:r>
              <a:rPr lang="ru-RU" sz="2400" i="1" baseline="30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0 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ледовательно </a:t>
            </a:r>
            <a:r>
              <a:rPr lang="el-GR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β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=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0</a:t>
            </a:r>
            <a:r>
              <a:rPr lang="ru-RU" sz="2400" baseline="30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400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0</a:t>
            </a:r>
            <a:r>
              <a:rPr lang="ru-RU" sz="2400" baseline="30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0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6492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7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633" y="1340768"/>
            <a:ext cx="2448272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</a:t>
            </a:r>
            <a:r>
              <a:rPr lang="en-US" sz="2000" b="1" dirty="0" smtClean="0">
                <a:solidFill>
                  <a:srgbClr val="002060"/>
                </a:solidFill>
              </a:rPr>
              <a:t>1</a:t>
            </a:r>
            <a:endParaRPr lang="ru-RU" sz="2000" b="1" dirty="0" smtClean="0">
              <a:solidFill>
                <a:srgbClr val="002060"/>
              </a:solidFill>
            </a:endParaRPr>
          </a:p>
          <a:p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9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7 класс (Черняева М.А., Доброхвалов Р.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9660" y="1685396"/>
            <a:ext cx="2012982" cy="26765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336" y="1685395"/>
            <a:ext cx="9505056" cy="5106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612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7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633" y="1340768"/>
            <a:ext cx="2448272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</a:t>
            </a:r>
            <a:r>
              <a:rPr lang="en-US" sz="2000" b="1" dirty="0" smtClean="0">
                <a:solidFill>
                  <a:srgbClr val="002060"/>
                </a:solidFill>
              </a:rPr>
              <a:t>1</a:t>
            </a:r>
            <a:endParaRPr lang="ru-RU" sz="2000" b="1" dirty="0" smtClean="0">
              <a:solidFill>
                <a:srgbClr val="002060"/>
              </a:solidFill>
            </a:endParaRPr>
          </a:p>
          <a:p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9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7 класс (Черняева М.А., Доброхвалов Р.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9660" y="1685396"/>
            <a:ext cx="2012982" cy="26765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Группа 4"/>
          <p:cNvGrpSpPr/>
          <p:nvPr/>
        </p:nvGrpSpPr>
        <p:grpSpPr>
          <a:xfrm>
            <a:off x="72307" y="1685396"/>
            <a:ext cx="9427866" cy="4950042"/>
            <a:chOff x="72306" y="1700808"/>
            <a:chExt cx="10286886" cy="552610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2306" y="1700808"/>
              <a:ext cx="10286886" cy="5526106"/>
            </a:xfrm>
            <a:prstGeom prst="rect">
              <a:avLst/>
            </a:prstGeom>
          </p:spPr>
        </p:pic>
        <p:cxnSp>
          <p:nvCxnSpPr>
            <p:cNvPr id="11" name="Прямая соединительная линия 10"/>
            <p:cNvCxnSpPr/>
            <p:nvPr/>
          </p:nvCxnSpPr>
          <p:spPr>
            <a:xfrm flipV="1">
              <a:off x="4338799" y="2884663"/>
              <a:ext cx="5781379" cy="23857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933862" y="3160848"/>
              <a:ext cx="5432024" cy="36277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 flipV="1">
              <a:off x="933862" y="3484217"/>
              <a:ext cx="9186316" cy="1514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/>
            <p:cNvCxnSpPr/>
            <p:nvPr/>
          </p:nvCxnSpPr>
          <p:spPr>
            <a:xfrm flipV="1">
              <a:off x="2437809" y="5730966"/>
              <a:ext cx="7682369" cy="2496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969955" y="6040946"/>
              <a:ext cx="1417927" cy="17368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 flipV="1">
              <a:off x="862570" y="6510177"/>
              <a:ext cx="1417927" cy="17368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946792" y="6838653"/>
              <a:ext cx="2584091" cy="26543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/>
            <p:nvPr/>
          </p:nvCxnSpPr>
          <p:spPr>
            <a:xfrm>
              <a:off x="9666991" y="6539577"/>
              <a:ext cx="513347" cy="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/>
          </p:nvCxnSpPr>
          <p:spPr>
            <a:xfrm flipV="1">
              <a:off x="5073840" y="6838653"/>
              <a:ext cx="5046338" cy="3622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/>
            <p:cNvCxnSpPr/>
            <p:nvPr/>
          </p:nvCxnSpPr>
          <p:spPr>
            <a:xfrm flipV="1">
              <a:off x="969955" y="7190641"/>
              <a:ext cx="6374939" cy="26543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06193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7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633" y="1340768"/>
            <a:ext cx="244827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</a:t>
            </a:r>
            <a:r>
              <a:rPr lang="en-US" sz="2000" b="1" dirty="0" smtClean="0">
                <a:solidFill>
                  <a:srgbClr val="002060"/>
                </a:solidFill>
              </a:rPr>
              <a:t>1</a:t>
            </a:r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9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7 класс (Черняева М.А., Доброхвалов Р.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9660" y="1685396"/>
            <a:ext cx="2012982" cy="26765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7698841"/>
              </p:ext>
            </p:extLst>
          </p:nvPr>
        </p:nvGraphicFramePr>
        <p:xfrm>
          <a:off x="1559496" y="1625461"/>
          <a:ext cx="8128000" cy="24993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25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ыло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ло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корость, км/ч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рмозной</a:t>
                      </a:r>
                      <a:r>
                        <a:rPr lang="ru-RU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уть, км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корость, км/ч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рмозной</a:t>
                      </a:r>
                      <a:r>
                        <a:rPr lang="ru-RU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уть, км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гковой</a:t>
                      </a:r>
                      <a:r>
                        <a:rPr lang="ru-RU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втомобиль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2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0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узовой автомобиль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5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0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344" y="1740878"/>
            <a:ext cx="600075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191344" y="4361937"/>
            <a:ext cx="94849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Так как скорость каждого автомобиля увеличилась в 4 раза, то тормозной путь каждой машины увеличился в 16 раз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0379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191344" y="1556792"/>
            <a:ext cx="11809312" cy="4536504"/>
          </a:xfrm>
        </p:spPr>
        <p:txBody>
          <a:bodyPr/>
          <a:lstStyle/>
          <a:p>
            <a:r>
              <a:rPr lang="ru-RU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содержит 16 заданий.</a:t>
            </a:r>
          </a:p>
          <a:p>
            <a:r>
              <a:rPr lang="ru-RU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заданиях 1–9, 11 и 13 необходимо записать только ответ.</a:t>
            </a:r>
          </a:p>
          <a:p>
            <a:r>
              <a:rPr lang="ru-RU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задании 12 нужно отметить точки на числовой прямой.</a:t>
            </a:r>
          </a:p>
          <a:p>
            <a:r>
              <a:rPr lang="ru-RU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задании 15 требуется схематично построить график функции.</a:t>
            </a:r>
          </a:p>
          <a:p>
            <a:r>
              <a:rPr lang="ru-RU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заданиях 10, 14, 16 требуется записать решение и ответ.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8451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7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633" y="1340768"/>
            <a:ext cx="244827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</a:t>
            </a:r>
            <a:r>
              <a:rPr lang="en-US" sz="2000" b="1" dirty="0" smtClean="0">
                <a:solidFill>
                  <a:srgbClr val="002060"/>
                </a:solidFill>
              </a:rPr>
              <a:t>1</a:t>
            </a:r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9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7 класс (Черняева М.А., Доброхвалов Р.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29660" y="1685396"/>
            <a:ext cx="2012982" cy="26765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4755556"/>
              </p:ext>
            </p:extLst>
          </p:nvPr>
        </p:nvGraphicFramePr>
        <p:xfrm>
          <a:off x="1559496" y="1625461"/>
          <a:ext cx="8128000" cy="24993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256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ыло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ло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корость, км/ч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рмозной</a:t>
                      </a:r>
                      <a:r>
                        <a:rPr lang="ru-RU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уть, км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корость, км/ч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рмозной</a:t>
                      </a:r>
                      <a:r>
                        <a:rPr lang="ru-RU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уть, км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гковой</a:t>
                      </a:r>
                      <a:r>
                        <a:rPr lang="ru-RU" sz="20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автомобиль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2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0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5,2</a:t>
                      </a:r>
                      <a:endParaRPr lang="ru-RU" sz="24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узовой автомобиль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5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0</a:t>
                      </a:r>
                      <a:endParaRPr lang="ru-RU" sz="2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2</a:t>
                      </a:r>
                      <a:endParaRPr lang="ru-RU" sz="24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344" y="1740878"/>
            <a:ext cx="600075" cy="409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/>
          <p:cNvSpPr txBox="1"/>
          <p:nvPr/>
        </p:nvSpPr>
        <p:spPr>
          <a:xfrm>
            <a:off x="191344" y="4361937"/>
            <a:ext cx="94849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Так как скорость каждого автомобиля увеличилась в 4 раза, то тормозной путь каждой машины увеличился в 16 раз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151784" y="5196681"/>
            <a:ext cx="25752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152 – 115,2 = 36,8 (км)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99656" y="5983409"/>
            <a:ext cx="5941610" cy="711495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4690459" y="6042924"/>
            <a:ext cx="885179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36,8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2217375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2204864"/>
            <a:ext cx="12192000" cy="25922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0" name="Заголовок 4"/>
          <p:cNvSpPr txBox="1">
            <a:spLocks/>
          </p:cNvSpPr>
          <p:nvPr/>
        </p:nvSpPr>
        <p:spPr>
          <a:xfrm>
            <a:off x="1343472" y="367688"/>
            <a:ext cx="3998875" cy="65981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dirty="0" smtClean="0">
                <a:solidFill>
                  <a:srgbClr val="014694"/>
                </a:solidFill>
                <a:latin typeface="+mn-lt"/>
              </a:rPr>
              <a:t>МАТЕМАТИКА</a:t>
            </a:r>
            <a:endParaRPr lang="ru-RU" sz="2800" dirty="0">
              <a:solidFill>
                <a:srgbClr val="014694"/>
              </a:solidFill>
              <a:latin typeface="+mn-lt"/>
            </a:endParaRPr>
          </a:p>
        </p:txBody>
      </p:sp>
      <p:sp>
        <p:nvSpPr>
          <p:cNvPr id="11" name="Заголовок 4"/>
          <p:cNvSpPr txBox="1">
            <a:spLocks/>
          </p:cNvSpPr>
          <p:nvPr/>
        </p:nvSpPr>
        <p:spPr>
          <a:xfrm>
            <a:off x="4019657" y="2654937"/>
            <a:ext cx="5688696" cy="1828554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2000" b="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Черняева М. А., </a:t>
            </a:r>
            <a:r>
              <a:rPr lang="ru-RU" sz="2000" b="0" dirty="0" err="1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Доброхвалов</a:t>
            </a:r>
            <a:r>
              <a:rPr lang="ru-RU" sz="2000" b="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 Р. А. Всероссийские </a:t>
            </a:r>
            <a:r>
              <a:rPr lang="ru-RU" sz="2000" b="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проверочные </a:t>
            </a:r>
            <a:r>
              <a:rPr lang="ru-RU" sz="2000" b="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работы. Математика. 15 </a:t>
            </a:r>
            <a:r>
              <a:rPr lang="ru-RU" sz="2000" b="0" dirty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типовых </a:t>
            </a:r>
            <a:r>
              <a:rPr lang="ru-RU" sz="2000" b="0" dirty="0" smtClean="0">
                <a:solidFill>
                  <a:srgbClr val="002060"/>
                </a:solidFill>
                <a:latin typeface="+mn-lt"/>
                <a:cs typeface="Arial" panose="020B0604020202020204" pitchFamily="34" charset="0"/>
              </a:rPr>
              <a:t>вариантов. 7 класс.</a:t>
            </a:r>
          </a:p>
          <a:p>
            <a:pPr algn="l"/>
            <a:endParaRPr lang="ru-RU" sz="2000" b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248128" y="186035"/>
            <a:ext cx="4423190" cy="1023127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r"/>
            <a:r>
              <a:rPr lang="ru-RU" sz="4800" b="1" dirty="0" smtClean="0">
                <a:solidFill>
                  <a:srgbClr val="014694"/>
                </a:solidFill>
              </a:rPr>
              <a:t>7 класс</a:t>
            </a:r>
            <a:endParaRPr lang="ru-RU" sz="2400" b="1" dirty="0" smtClean="0">
              <a:solidFill>
                <a:srgbClr val="014694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46137"/>
            <a:ext cx="502921" cy="502921"/>
          </a:xfrm>
          <a:prstGeom prst="rect">
            <a:avLst/>
          </a:prstGeom>
        </p:spPr>
      </p:pic>
      <p:pic>
        <p:nvPicPr>
          <p:cNvPr id="2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7 класс (Черняева М.А., Доброхвалов Р.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963" y="1844824"/>
            <a:ext cx="3552631" cy="472372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0416" y="2624431"/>
            <a:ext cx="1680988" cy="1680988"/>
          </a:xfrm>
          <a:prstGeom prst="rect">
            <a:avLst/>
          </a:prstGeom>
        </p:spPr>
      </p:pic>
      <p:sp>
        <p:nvSpPr>
          <p:cNvPr id="9" name="Заголовок 4"/>
          <p:cNvSpPr txBox="1">
            <a:spLocks/>
          </p:cNvSpPr>
          <p:nvPr/>
        </p:nvSpPr>
        <p:spPr>
          <a:xfrm>
            <a:off x="1343472" y="1021761"/>
            <a:ext cx="6651427" cy="65981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dirty="0" smtClean="0">
                <a:solidFill>
                  <a:srgbClr val="014694"/>
                </a:solidFill>
                <a:latin typeface="+mn-lt"/>
              </a:rPr>
              <a:t>Урок подготовлен на основе материалов пособия:</a:t>
            </a:r>
            <a:endParaRPr lang="ru-RU" sz="1800" dirty="0">
              <a:solidFill>
                <a:srgbClr val="014694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477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4"/>
          <p:cNvSpPr txBox="1">
            <a:spLocks/>
          </p:cNvSpPr>
          <p:nvPr/>
        </p:nvSpPr>
        <p:spPr>
          <a:xfrm>
            <a:off x="1199456" y="289795"/>
            <a:ext cx="3998875" cy="65981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dirty="0" smtClean="0">
                <a:solidFill>
                  <a:srgbClr val="014694"/>
                </a:solidFill>
                <a:latin typeface="+mn-lt"/>
              </a:rPr>
              <a:t>МАТЕМАТИКА</a:t>
            </a:r>
            <a:endParaRPr lang="ru-RU" sz="2800" dirty="0">
              <a:solidFill>
                <a:srgbClr val="014694"/>
              </a:solidFill>
              <a:latin typeface="+mn-lt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464152" y="53741"/>
            <a:ext cx="4423190" cy="1023127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r"/>
            <a:r>
              <a:rPr lang="ru-RU" sz="4800" b="1" dirty="0" smtClean="0">
                <a:solidFill>
                  <a:srgbClr val="014694"/>
                </a:solidFill>
              </a:rPr>
              <a:t>7 класс</a:t>
            </a:r>
            <a:endParaRPr lang="ru-RU" sz="2400" b="1" dirty="0" smtClean="0">
              <a:solidFill>
                <a:srgbClr val="014694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058" y="362805"/>
            <a:ext cx="502921" cy="502921"/>
          </a:xfrm>
          <a:prstGeom prst="rect">
            <a:avLst/>
          </a:prstGeom>
        </p:spPr>
      </p:pic>
      <p:sp>
        <p:nvSpPr>
          <p:cNvPr id="9" name="Заголовок 4"/>
          <p:cNvSpPr txBox="1">
            <a:spLocks/>
          </p:cNvSpPr>
          <p:nvPr/>
        </p:nvSpPr>
        <p:spPr>
          <a:xfrm>
            <a:off x="1199455" y="914289"/>
            <a:ext cx="6651427" cy="65981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000" dirty="0" smtClean="0">
                <a:solidFill>
                  <a:srgbClr val="014694"/>
                </a:solidFill>
                <a:latin typeface="+mn-lt"/>
              </a:rPr>
              <a:t>Вас также могут заинтересовать:</a:t>
            </a:r>
            <a:endParaRPr lang="ru-RU" sz="1800" dirty="0">
              <a:solidFill>
                <a:srgbClr val="014694"/>
              </a:solidFill>
              <a:latin typeface="+mn-lt"/>
            </a:endParaRPr>
          </a:p>
        </p:txBody>
      </p:sp>
      <p:pic>
        <p:nvPicPr>
          <p:cNvPr id="70672" name="Picture 16" descr="Изображение Математическая грамотность. Математика на каждый день. Тренажёр. 6-8 классы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8088" y="1690321"/>
            <a:ext cx="2001096" cy="271753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676" name="Picture 20" descr="Задачи повышенной сложности по геометрии. 7 класс.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9943" y="1690321"/>
            <a:ext cx="1918248" cy="273925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6280" y="4869160"/>
            <a:ext cx="1589595" cy="1589595"/>
          </a:xfrm>
          <a:prstGeom prst="rect">
            <a:avLst/>
          </a:prstGeom>
        </p:spPr>
      </p:pic>
      <p:pic>
        <p:nvPicPr>
          <p:cNvPr id="70658" name="Picture 2" descr="Изображение Всероссийские проверочные работы. Английский язык. 10 типовых вариантов. 7 класс.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192" y="1679018"/>
            <a:ext cx="2125400" cy="271853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4" descr="Изображение Всероссийские проверочные работы. Немецкий язык. 10 типовых вариантов. 7 класс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5720" y="1651173"/>
            <a:ext cx="2160240" cy="275668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6" descr="Изображение Всероссийские проверочные работы. Русский язык. Рабочая тетрадь. 7 класс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1544" y="3933056"/>
            <a:ext cx="2123645" cy="280097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0563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вал 3"/>
          <p:cNvSpPr/>
          <p:nvPr/>
        </p:nvSpPr>
        <p:spPr>
          <a:xfrm>
            <a:off x="7464152" y="478319"/>
            <a:ext cx="3456384" cy="1338428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275" y="2276872"/>
            <a:ext cx="12189772" cy="3411316"/>
          </a:xfrm>
          <a:prstGeom prst="rect">
            <a:avLst/>
          </a:prstGeom>
        </p:spPr>
      </p:pic>
      <p:grpSp>
        <p:nvGrpSpPr>
          <p:cNvPr id="9" name="Группа 8"/>
          <p:cNvGrpSpPr/>
          <p:nvPr/>
        </p:nvGrpSpPr>
        <p:grpSpPr>
          <a:xfrm>
            <a:off x="8112224" y="978262"/>
            <a:ext cx="5378740" cy="389234"/>
            <a:chOff x="289608" y="6005228"/>
            <a:chExt cx="4302992" cy="293565"/>
          </a:xfrm>
        </p:grpSpPr>
        <p:sp>
          <p:nvSpPr>
            <p:cNvPr id="11" name="TextBox 10"/>
            <p:cNvSpPr txBox="1"/>
            <p:nvPr/>
          </p:nvSpPr>
          <p:spPr>
            <a:xfrm>
              <a:off x="574096" y="6005228"/>
              <a:ext cx="4018504" cy="25534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hlinkClick r:id="rId3"/>
                </a:rPr>
                <a:t>https://shop.prosv.ru/</a:t>
              </a:r>
              <a:endParaRPr lang="ru-RU" sz="1600" i="1" dirty="0"/>
            </a:p>
          </p:txBody>
        </p:sp>
        <p:pic>
          <p:nvPicPr>
            <p:cNvPr id="12" name="Picture 8" descr="https://www.pinclipart.com/picdir/big/288-2884575_sample-courses-clipart.png"/>
            <p:cNvPicPr>
              <a:picLocks noChangeAspect="1" noChangeArrowheads="1"/>
            </p:cNvPicPr>
            <p:nvPr/>
          </p:nvPicPr>
          <p:blipFill>
            <a:blip r:embed="rId4" cstate="print">
              <a:biLevel thresh="5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289608" y="6025709"/>
              <a:ext cx="281818" cy="2730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Заголовок 5"/>
          <p:cNvSpPr txBox="1">
            <a:spLocks/>
          </p:cNvSpPr>
          <p:nvPr/>
        </p:nvSpPr>
        <p:spPr>
          <a:xfrm>
            <a:off x="695400" y="764704"/>
            <a:ext cx="6048672" cy="1080120"/>
          </a:xfrm>
          <a:prstGeom prst="rect">
            <a:avLst/>
          </a:prstGeom>
        </p:spPr>
        <p:txBody>
          <a:bodyPr/>
          <a:lstStyle>
            <a:lvl1pPr algn="l" defTabSz="685800" rtl="0" eaLnBrk="1" latinLnBrk="0" hangingPunct="1">
              <a:spcBef>
                <a:spcPct val="0"/>
              </a:spcBef>
              <a:buNone/>
              <a:defRPr sz="135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b="1" dirty="0" smtClean="0">
                <a:solidFill>
                  <a:srgbClr val="FF0000"/>
                </a:solidFill>
                <a:latin typeface="+mn-lt"/>
              </a:rPr>
              <a:t>Акция* в нашем интернет магазине </a:t>
            </a:r>
          </a:p>
          <a:p>
            <a:pPr algn="r"/>
            <a:r>
              <a:rPr lang="ru-RU" sz="1800" b="1" i="1" dirty="0" smtClean="0">
                <a:solidFill>
                  <a:srgbClr val="FF0000"/>
                </a:solidFill>
                <a:latin typeface="+mn-lt"/>
              </a:rPr>
              <a:t>*Срок акции до 30 апреля</a:t>
            </a:r>
            <a:endParaRPr lang="ru-RU" sz="1800" b="1" i="1" dirty="0">
              <a:solidFill>
                <a:srgbClr val="FF0000"/>
              </a:solidFill>
              <a:latin typeface="+mn-lt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5880" y="2492896"/>
            <a:ext cx="1589595" cy="1589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256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2204864"/>
            <a:ext cx="12192000" cy="25922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440" y="404664"/>
            <a:ext cx="10304880" cy="5616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3472" y="4509769"/>
            <a:ext cx="24955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8" descr="https://www.pinclipart.com/picdir/big/288-2884575_sample-courses-clipart.png"/>
          <p:cNvPicPr>
            <a:picLocks noChangeAspect="1" noChangeArrowheads="1"/>
          </p:cNvPicPr>
          <p:nvPr/>
        </p:nvPicPr>
        <p:blipFill>
          <a:blip r:embed="rId5" cstate="print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271463" y="5047140"/>
            <a:ext cx="432048" cy="444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3034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6" y="316441"/>
            <a:ext cx="1733616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168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10"/>
          <a:stretch/>
        </p:blipFill>
        <p:spPr bwMode="auto">
          <a:xfrm>
            <a:off x="1104900" y="1381125"/>
            <a:ext cx="9982200" cy="679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-21573" y="3284984"/>
            <a:ext cx="12192000" cy="33855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ьное решение каждого из заданий 1–11, 13, 15 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ивается 1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лом. </a:t>
            </a:r>
            <a:endParaRPr lang="ru-RU" sz="24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12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ние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читается выполненным верно, если ученик дал 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ный ответ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ru-RU" sz="24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81413"/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исал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ьное число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marL="3681413"/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ьную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личину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681413"/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образил правильный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сунок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ctr"/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ение заданий 12, 14, 16 оценивается от 0 до 2 баллов.</a:t>
            </a:r>
          </a:p>
          <a:p>
            <a:pPr algn="ctr"/>
            <a:endParaRPr lang="ru-RU" sz="12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симальный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вичный балл — 19.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8577" y="2132459"/>
            <a:ext cx="9791700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9023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512" y="1628800"/>
            <a:ext cx="8547099" cy="4681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3965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270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0136"/>
          <a:stretch/>
        </p:blipFill>
        <p:spPr bwMode="auto">
          <a:xfrm>
            <a:off x="2157412" y="1628800"/>
            <a:ext cx="7877175" cy="425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37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0070" y="2204864"/>
            <a:ext cx="9391859" cy="3282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0295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640" y="2276872"/>
            <a:ext cx="10520719" cy="3384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94943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109027" y="316441"/>
            <a:ext cx="17336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7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1744" y="1556792"/>
            <a:ext cx="33909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57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504" y="1937792"/>
            <a:ext cx="8424936" cy="4735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8101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rofa">
  <a:themeElements>
    <a:clrScheme name="Другая 1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002060"/>
      </a:hlink>
      <a:folHlink>
        <a:srgbClr val="9F6715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192</TotalTime>
  <Words>1089</Words>
  <Application>Microsoft Office PowerPoint</Application>
  <PresentationFormat>Широкоэкранный</PresentationFormat>
  <Paragraphs>222</Paragraphs>
  <Slides>4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4</vt:i4>
      </vt:variant>
    </vt:vector>
  </HeadingPairs>
  <TitlesOfParts>
    <vt:vector size="51" baseType="lpstr">
      <vt:lpstr>Arial</vt:lpstr>
      <vt:lpstr>Calibri</vt:lpstr>
      <vt:lpstr>Calibri Light</vt:lpstr>
      <vt:lpstr>Times New Roman</vt:lpstr>
      <vt:lpstr>Wingdings</vt:lpstr>
      <vt:lpstr>Drofa</vt:lpstr>
      <vt:lpstr>Слайд think-cell</vt:lpstr>
      <vt:lpstr>Презентация PowerPoint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</dc:title>
  <dc:creator>Дрофа</dc:creator>
  <cp:lastModifiedBy>Шинко Елена Юрьевна</cp:lastModifiedBy>
  <cp:revision>1568</cp:revision>
  <cp:lastPrinted>2018-05-30T14:26:43Z</cp:lastPrinted>
  <dcterms:created xsi:type="dcterms:W3CDTF">2011-07-04T10:53:52Z</dcterms:created>
  <dcterms:modified xsi:type="dcterms:W3CDTF">2020-04-09T06:27:42Z</dcterms:modified>
</cp:coreProperties>
</file>